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F0C9FA05-5E80-4B65-B642-E0E40C56E1B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582989958646008</c:v>
                </c:pt>
                <c:pt idx="1">
                  <c:v>0.0019929855107430334</c:v>
                </c:pt>
                <c:pt idx="2">
                  <c:v>0.0030582896948437768</c:v>
                </c:pt>
                <c:pt idx="3">
                  <c:v>0.007207132777929085</c:v>
                </c:pt>
                <c:pt idx="4">
                  <c:v>0.014674730551045772</c:v>
                </c:pt>
                <c:pt idx="5">
                  <c:v>0.010793761029072564</c:v>
                </c:pt>
                <c:pt idx="6">
                  <c:v>0.006098648371388458</c:v>
                </c:pt>
                <c:pt idx="7">
                  <c:v>0.02470817596077515</c:v>
                </c:pt>
                <c:pt idx="8">
                  <c:v>0.014742864129153944</c:v>
                </c:pt>
                <c:pt idx="9">
                  <c:v>0.003807826026325254</c:v>
                </c:pt>
                <c:pt idx="10">
                  <c:v>0.0003457759907605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3797241228287283</c:v>
                </c:pt>
                <c:pt idx="5">
                  <c:v>0.029629555086729643</c:v>
                </c:pt>
                <c:pt idx="6">
                  <c:v>0.004072175014549033</c:v>
                </c:pt>
                <c:pt idx="7">
                  <c:v>0.021327844707948126</c:v>
                </c:pt>
                <c:pt idx="8">
                  <c:v>0.06993358149902323</c:v>
                </c:pt>
                <c:pt idx="9">
                  <c:v>0.009431985087989302</c:v>
                </c:pt>
                <c:pt idx="10">
                  <c:v>4.04085836224166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8868916459005853</c:v>
                </c:pt>
                <c:pt idx="2">
                  <c:v>0.006067271340511832</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4085836224166e-06</c:v>
                </c:pt>
                <c:pt idx="1">
                  <c:v>0.009431985087989302</c:v>
                </c:pt>
                <c:pt idx="2">
                  <c:v>0.021327844707948126</c:v>
                </c:pt>
                <c:pt idx="3">
                  <c:v>0.06993358149902323</c:v>
                </c:pt>
                <c:pt idx="4">
                  <c:v>0.004072175014549033</c:v>
                </c:pt>
                <c:pt idx="5">
                  <c:v>0.029629555086729643</c:v>
                </c:pt>
                <c:pt idx="6">
                  <c:v>0.0003797241228287283</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6582276746004785</c:v>
                </c:pt>
                <c:pt idx="4">
                  <c:v>0.002708529177842654</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306556131165766</c:v>
                </c:pt>
                <c:pt idx="7">
                  <c:v>0.00010804015962936446</c:v>
                </c:pt>
                <c:pt idx="8">
                  <c:v>0.004785952485926713</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838750015035271</c:v>
                </c:pt>
                <c:pt idx="4">
                  <c:v>0.0020385719423146563</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2.4167441358791468e-05</c:v>
                </c:pt>
                <c:pt idx="7">
                  <c:v>0.0006400875063420107</c:v>
                </c:pt>
                <c:pt idx="8">
                  <c:v>0.00610053049476502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8868916459005853</c:v>
                </c:pt>
                <c:pt idx="2">
                  <c:v>0.006067271340511832</c:v>
                </c:pt>
                <c:pt idx="3">
                  <c:v>0.10919847111894318</c:v>
                </c:pt>
                <c:pt idx="4">
                  <c:v>0.026540558614162744</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06400875063420107</c:v>
                </c:pt>
                <c:pt idx="3">
                  <c:v>0.006100530494765029</c:v>
                </c:pt>
                <c:pt idx="4">
                  <c:v>2.4167441358791468e-05</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5216905811994124</c:v>
                </c:pt>
                <c:pt idx="5">
                  <c:v>0.01825891858014151</c:v>
                </c:pt>
                <c:pt idx="6">
                  <c:v/>
                </c:pt>
                <c:pt idx="7">
                  <c:v>0.030103958299176215</c:v>
                </c:pt>
                <c:pt idx="8">
                  <c:v>0.03790488467516881</c:v>
                </c:pt>
                <c:pt idx="9">
                  <c:v>0.0060900902500959754</c:v>
                </c:pt>
                <c:pt idx="10">
                  <c:v>0.000376303841657916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1.5171908853375233e-06</c:v>
                </c:pt>
                <c:pt idx="5">
                  <c:v>0.0020882278192255596</c:v>
                </c:pt>
                <c:pt idx="6">
                  <c:v>0.01692267970434872</c:v>
                </c:pt>
                <c:pt idx="7">
                  <c:v>0.03958883722423117</c:v>
                </c:pt>
                <c:pt idx="8">
                  <c:v>0.03447344271987417</c:v>
                </c:pt>
                <c:pt idx="9">
                  <c:v>0.008552573597412657</c:v>
                </c:pt>
                <c:pt idx="10">
                  <c:v>0.00072916193949321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7291619394932138</c:v>
                </c:pt>
                <c:pt idx="1">
                  <c:v>0.008552573597412657</c:v>
                </c:pt>
                <c:pt idx="2">
                  <c:v>0.03958883722423117</c:v>
                </c:pt>
                <c:pt idx="3">
                  <c:v>0.03447344271987417</c:v>
                </c:pt>
                <c:pt idx="4">
                  <c:v>0.01692267970434872</c:v>
                </c:pt>
                <c:pt idx="5">
                  <c:v>0.0020882278192255596</c:v>
                </c:pt>
                <c:pt idx="6">
                  <c:v>1.5171908853375233e-06</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582989958646008</c:v>
                </c:pt>
                <c:pt idx="1">
                  <c:v>0.0019929855107430334</c:v>
                </c:pt>
                <c:pt idx="2">
                  <c:v>0.0030582896948437768</c:v>
                </c:pt>
                <c:pt idx="3">
                  <c:v>0.007207132777929085</c:v>
                </c:pt>
                <c:pt idx="4">
                  <c:v>0.014674730551045772</c:v>
                </c:pt>
                <c:pt idx="5">
                  <c:v>0.010793761029072564</c:v>
                </c:pt>
                <c:pt idx="6">
                  <c:v>0.006098648371388458</c:v>
                </c:pt>
                <c:pt idx="7">
                  <c:v>0.02470817596077515</c:v>
                </c:pt>
                <c:pt idx="8">
                  <c:v>0.014742864129153944</c:v>
                </c:pt>
                <c:pt idx="9">
                  <c:v>0.003807826026325254</c:v>
                </c:pt>
                <c:pt idx="10">
                  <c:v>0.0003457759907605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6582276746004785</c:v>
                </c:pt>
                <c:pt idx="4">
                  <c:v>0.002708529177842654</c:v>
                </c:pt>
                <c:pt idx="5">
                  <c:v>0.018979275109016668</c:v>
                </c:pt>
                <c:pt idx="6">
                  <c:v>0.009500095635457046</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1.4876835877361912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838750015035271</c:v>
                </c:pt>
                <c:pt idx="4">
                  <c:v>0.0020385719423146563</c:v>
                </c:pt>
                <c:pt idx="5">
                  <c:v>0.01671541860460919</c:v>
                </c:pt>
                <c:pt idx="6">
                  <c:v>0.005259728399007006</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8.765991781950135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8.76599178195013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4267255754208456</c:v>
                </c:pt>
                <c:pt idx="3">
                  <c:v>0.006827337072079137</c:v>
                </c:pt>
                <c:pt idx="4">
                  <c:v>0.009911853027981745</c:v>
                </c:pt>
                <c:pt idx="5">
                  <c:v>0.026441787850900917</c:v>
                </c:pt>
                <c:pt idx="6">
                  <c:v>1.4726532412161027e-06</c:v>
                </c:pt>
                <c:pt idx="7">
                  <c:v>0.0641718200234897</c:v>
                </c:pt>
                <c:pt idx="8">
                  <c:v>0.0627645686249812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6582276746004785</c:v>
                </c:pt>
                <c:pt idx="4">
                  <c:v>0.002708529177842654</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306556131165766</c:v>
                </c:pt>
                <c:pt idx="7">
                  <c:v>0.00010804015962936446</c:v>
                </c:pt>
                <c:pt idx="8">
                  <c:v>0.004785952485926713</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838750015035271</c:v>
                </c:pt>
                <c:pt idx="4">
                  <c:v>0.0020385719423146563</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45544047456652</c:v>
                </c:pt>
                <c:pt idx="7">
                  <c:v>0.0026853604363414013</c:v>
                </c:pt>
                <c:pt idx="8">
                  <c:v>0.00310633033399305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26853604363414013</c:v>
                </c:pt>
                <c:pt idx="3">
                  <c:v>0.003106330333993053</c:v>
                </c:pt>
                <c:pt idx="4">
                  <c:v>0.0045544047456652</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6582276746004785</c:v>
                </c:pt>
                <c:pt idx="4">
                  <c:v>0.002708529177842654</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12295290510459986</c:v>
                </c:pt>
                <c:pt idx="8">
                  <c:v>0.0092465227018631</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838750015035271</c:v>
                </c:pt>
                <c:pt idx="4">
                  <c:v>0.0020385719423146563</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6886924350949647e-05</c:v>
                </c:pt>
                <c:pt idx="1">
                  <c:v>0.03889779998381663</c:v>
                </c:pt>
                <c:pt idx="2">
                  <c:v>0.008003546001222972</c:v>
                </c:pt>
                <c:pt idx="3">
                  <c:v/>
                </c:pt>
                <c:pt idx="4">
                  <c:v>0.000746483446360842</c:v>
                </c:pt>
                <c:pt idx="5">
                  <c:v>0.052241447653462884</c:v>
                </c:pt>
                <c:pt idx="6">
                  <c:v>0.007650994406495471</c:v>
                </c:pt>
                <c:pt idx="7">
                  <c:v>0.06491184673736135</c:v>
                </c:pt>
                <c:pt idx="8">
                  <c:v>0.061714556119924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036410196472055873</c:v>
                </c:pt>
                <c:pt idx="7">
                  <c:v>0.0018740610394460178</c:v>
                </c:pt>
                <c:pt idx="8">
                  <c:v>0.0115126921991336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8868916459005853</c:v>
                </c:pt>
                <c:pt idx="2">
                  <c:v>0.006067271340511832</c:v>
                </c:pt>
                <c:pt idx="3">
                  <c:v>0.10919847111894318</c:v>
                </c:pt>
                <c:pt idx="4">
                  <c:v>0.026540558614162744</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18740610394460178</c:v>
                </c:pt>
                <c:pt idx="3">
                  <c:v>0.01151269219913366</c:v>
                </c:pt>
                <c:pt idx="4">
                  <c:v>0.00036410196472055873</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2708529177842654</c:v>
                </c:pt>
                <c:pt idx="4">
                  <c:v>0.006582276746004785</c:v>
                </c:pt>
                <c:pt idx="5">
                  <c:v>0.018979275109016668</c:v>
                </c:pt>
                <c:pt idx="6">
                  <c:v>0.009500095635457046</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6067271340511832</c:v>
                </c:pt>
                <c:pt idx="2">
                  <c:v>0.008868916459005853</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12295290510459986</c:v>
                </c:pt>
                <c:pt idx="8">
                  <c:v>0.0092465227018631</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20385719423146563</c:v>
                </c:pt>
                <c:pt idx="4">
                  <c:v>0.00838750015035271</c:v>
                </c:pt>
                <c:pt idx="5">
                  <c:v>0.01671541860460919</c:v>
                </c:pt>
                <c:pt idx="6">
                  <c:v>0.005259728399007006</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008646551758464e-07</c:v>
                </c:pt>
                <c:pt idx="5">
                  <c:v/>
                </c:pt>
                <c:pt idx="6">
                  <c:v/>
                </c:pt>
                <c:pt idx="7">
                  <c:v>0.00415582430339055</c:v>
                </c:pt>
                <c:pt idx="8">
                  <c:v>0.01198829569456491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0.00415582430339055</c:v>
                </c:pt>
                <c:pt idx="3">
                  <c:v>0.011988295694564919</c:v>
                </c:pt>
                <c:pt idx="4">
                  <c:v/>
                </c:pt>
                <c:pt idx="5">
                  <c:v/>
                </c:pt>
                <c:pt idx="6">
                  <c:v>5.008646551758464e-07</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6491184673736135</c:v>
                </c:pt>
                <c:pt idx="3">
                  <c:v>0.0617145561199249</c:v>
                </c:pt>
                <c:pt idx="4">
                  <c:v>0.007650994406495471</c:v>
                </c:pt>
                <c:pt idx="5">
                  <c:v>0.052241447653462884</c:v>
                </c:pt>
                <c:pt idx="6">
                  <c:v>0.000746483446360842</c:v>
                </c:pt>
                <c:pt idx="7">
                  <c:v/>
                </c:pt>
                <c:pt idx="8">
                  <c:v>0.008003546001222972</c:v>
                </c:pt>
                <c:pt idx="9">
                  <c:v>0.03889779998381663</c:v>
                </c:pt>
                <c:pt idx="10">
                  <c:v>2.6886924350949647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7.006542050001685e-05</c:v>
                </c:pt>
                <c:pt idx="5">
                  <c:v>0.002452255904739394</c:v>
                </c:pt>
                <c:pt idx="6">
                  <c:v/>
                </c:pt>
                <c:pt idx="7">
                  <c:v>0.00446863688421037</c:v>
                </c:pt>
                <c:pt idx="8">
                  <c:v>0.008291006621331705</c:v>
                </c:pt>
                <c:pt idx="9">
                  <c:v>0.0008179268509601912</c:v>
                </c:pt>
                <c:pt idx="10">
                  <c:v>5.053931938145443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619357531545321e-05</c:v>
                </c:pt>
                <c:pt idx="5">
                  <c:v>0.004384737590349227</c:v>
                </c:pt>
                <c:pt idx="6">
                  <c:v>0.0007201781952149627</c:v>
                </c:pt>
                <c:pt idx="7">
                  <c:v>0.003761278123301791</c:v>
                </c:pt>
                <c:pt idx="8">
                  <c:v>0.014066201206613426</c:v>
                </c:pt>
                <c:pt idx="9">
                  <c:v>0.0013957948219560931</c:v>
                </c:pt>
                <c:pt idx="10">
                  <c:v>5.979874995198131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8868916459005853</c:v>
                </c:pt>
                <c:pt idx="2">
                  <c:v>0.006067271340511832</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979874995198131e-07</c:v>
                </c:pt>
                <c:pt idx="1">
                  <c:v>0.0013957948219560931</c:v>
                </c:pt>
                <c:pt idx="2">
                  <c:v>0.003761278123301791</c:v>
                </c:pt>
                <c:pt idx="3">
                  <c:v>0.014066201206613426</c:v>
                </c:pt>
                <c:pt idx="4">
                  <c:v>0.0007201781952149627</c:v>
                </c:pt>
                <c:pt idx="5">
                  <c:v>0.004384737590349227</c:v>
                </c:pt>
                <c:pt idx="6">
                  <c:v>5.619357531545321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980267979165756e-08</c:v>
                </c:pt>
                <c:pt idx="1">
                  <c:v/>
                </c:pt>
                <c:pt idx="2">
                  <c:v>2.689651458733852e-08</c:v>
                </c:pt>
                <c:pt idx="3">
                  <c:v>0.0073954533553850735</c:v>
                </c:pt>
                <c:pt idx="4">
                  <c:v>0.0041195377997191585</c:v>
                </c:pt>
                <c:pt idx="5">
                  <c:v>0.004347889977037508</c:v>
                </c:pt>
                <c:pt idx="6">
                  <c:v>0.002366181678756993</c:v>
                </c:pt>
                <c:pt idx="7">
                  <c:v>0.007386331594580739</c:v>
                </c:pt>
                <c:pt idx="8">
                  <c:v>0.0018713949333520046</c:v>
                </c:pt>
                <c:pt idx="9">
                  <c:v>1.3803291286222127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10806266603101361</c:v>
                </c:pt>
                <c:pt idx="3">
                  <c:v>0.008807591133913039</c:v>
                </c:pt>
                <c:pt idx="4">
                  <c:v>0.010092321277592933</c:v>
                </c:pt>
                <c:pt idx="5">
                  <c:v>0.0001330809680421738</c:v>
                </c:pt>
                <c:pt idx="6">
                  <c:v>0.001112768488409326</c:v>
                </c:pt>
                <c:pt idx="7">
                  <c:v>0.010893526778992831</c:v>
                </c:pt>
                <c:pt idx="8">
                  <c:v>0.0004163430466608668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6067271340511832</c:v>
                </c:pt>
                <c:pt idx="2">
                  <c:v>0.008868916459005853</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10893526778992831</c:v>
                </c:pt>
                <c:pt idx="3">
                  <c:v>0.00041634304666086686</c:v>
                </c:pt>
                <c:pt idx="4">
                  <c:v>0.001112768488409326</c:v>
                </c:pt>
                <c:pt idx="5">
                  <c:v>0.0001330809680421738</c:v>
                </c:pt>
                <c:pt idx="6">
                  <c:v>0.010092321277592933</c:v>
                </c:pt>
                <c:pt idx="7">
                  <c:v>0.008807591133913039</c:v>
                </c:pt>
                <c:pt idx="8">
                  <c:v>0.0010806266603101361</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2.5516269030972075e-07</c:v>
                </c:pt>
                <c:pt idx="3">
                  <c:v>0.07015941668175954</c:v>
                </c:pt>
                <c:pt idx="4">
                  <c:v>0.0390813591997439</c:v>
                </c:pt>
                <c:pt idx="5">
                  <c:v>0.04124769773083601</c:v>
                </c:pt>
                <c:pt idx="6">
                  <c:v>0.022447565871506092</c:v>
                </c:pt>
                <c:pt idx="7">
                  <c:v>0.07007288007793164</c:v>
                </c:pt>
                <c:pt idx="8">
                  <c:v>0.017753607601293627</c:v>
                </c:pt>
                <c:pt idx="9">
                  <c:v>0.0001309494926669487</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61208663830276</c:v>
                </c:pt>
                <c:pt idx="3">
                  <c:v>0.0007196646615104993</c:v>
                </c:pt>
                <c:pt idx="4">
                  <c:v>0.0010448012569199275</c:v>
                </c:pt>
                <c:pt idx="5">
                  <c:v>0.002787209727973201</c:v>
                </c:pt>
                <c:pt idx="6">
                  <c:v>0.0003099362223083553</c:v>
                </c:pt>
                <c:pt idx="7">
                  <c:v>0.006778815408765452</c:v>
                </c:pt>
                <c:pt idx="8">
                  <c:v>0.00725874298256870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186868966144414e-06</c:v>
                </c:pt>
                <c:pt idx="1">
                  <c:v>0.004367188957190241</c:v>
                </c:pt>
                <c:pt idx="2">
                  <c:v>0.0008985854657447777</c:v>
                </c:pt>
                <c:pt idx="3">
                  <c:v/>
                </c:pt>
                <c:pt idx="4">
                  <c:v>8.381024800962305e-05</c:v>
                </c:pt>
                <c:pt idx="5">
                  <c:v>0.005865325889761269</c:v>
                </c:pt>
                <c:pt idx="6">
                  <c:v>0.0008625797184179212</c:v>
                </c:pt>
                <c:pt idx="7">
                  <c:v>0.00738259842231693</c:v>
                </c:pt>
                <c:pt idx="8">
                  <c:v>0.00783169278433611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6067271340511832</c:v>
                </c:pt>
                <c:pt idx="2">
                  <c:v>0.008868916459005853</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738259842231693</c:v>
                </c:pt>
                <c:pt idx="3">
                  <c:v>0.007831692784336113</c:v>
                </c:pt>
                <c:pt idx="4">
                  <c:v>0.0008625797184179212</c:v>
                </c:pt>
                <c:pt idx="5">
                  <c:v>0.005865325889761269</c:v>
                </c:pt>
                <c:pt idx="6">
                  <c:v>8.381024800962305e-05</c:v>
                </c:pt>
                <c:pt idx="7">
                  <c:v/>
                </c:pt>
                <c:pt idx="8">
                  <c:v>0.0008985854657447777</c:v>
                </c:pt>
                <c:pt idx="9">
                  <c:v>0.004367188957190241</c:v>
                </c:pt>
                <c:pt idx="10">
                  <c:v>3.0186868966144414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7.006542050001685e-05</c:v>
                </c:pt>
                <c:pt idx="5">
                  <c:v>0.002452255904739394</c:v>
                </c:pt>
                <c:pt idx="6">
                  <c:v/>
                </c:pt>
                <c:pt idx="7">
                  <c:v>0.00446863688421037</c:v>
                </c:pt>
                <c:pt idx="8">
                  <c:v>0.008291006621331705</c:v>
                </c:pt>
                <c:pt idx="9">
                  <c:v>0.0008179268509601912</c:v>
                </c:pt>
                <c:pt idx="10">
                  <c:v>5.053931938145443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30707670152959e-07</c:v>
                </c:pt>
                <c:pt idx="5">
                  <c:v>0.000279132401136781</c:v>
                </c:pt>
                <c:pt idx="6">
                  <c:v>0.0022620463993700407</c:v>
                </c:pt>
                <c:pt idx="7">
                  <c:v>0.006787563320020437</c:v>
                </c:pt>
                <c:pt idx="8">
                  <c:v>0.008922813295508415</c:v>
                </c:pt>
                <c:pt idx="9">
                  <c:v>0.0011432183702208248</c:v>
                </c:pt>
                <c:pt idx="10">
                  <c:v>9.746672327340947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746672327340947e-05</c:v>
                </c:pt>
                <c:pt idx="1">
                  <c:v>0.0011432183702208248</c:v>
                </c:pt>
                <c:pt idx="2">
                  <c:v>0.006787563320020437</c:v>
                </c:pt>
                <c:pt idx="3">
                  <c:v>0.008922813295508415</c:v>
                </c:pt>
                <c:pt idx="4">
                  <c:v>0.0022620463993700407</c:v>
                </c:pt>
                <c:pt idx="5">
                  <c:v>0.000279132401136781</c:v>
                </c:pt>
                <c:pt idx="6">
                  <c:v>3.830707670152959e-07</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980267979165756e-08</c:v>
                </c:pt>
                <c:pt idx="1">
                  <c:v/>
                </c:pt>
                <c:pt idx="2">
                  <c:v>2.689651458733852e-08</c:v>
                </c:pt>
                <c:pt idx="3">
                  <c:v>0.0073954533553850735</c:v>
                </c:pt>
                <c:pt idx="4">
                  <c:v>0.0041195377997191585</c:v>
                </c:pt>
                <c:pt idx="5">
                  <c:v>0.004347889977037508</c:v>
                </c:pt>
                <c:pt idx="6">
                  <c:v>0.002366181678756993</c:v>
                </c:pt>
                <c:pt idx="7">
                  <c:v>0.007386331594580739</c:v>
                </c:pt>
                <c:pt idx="8">
                  <c:v>0.0018713949333520046</c:v>
                </c:pt>
                <c:pt idx="9">
                  <c:v>1.3803291286222127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616348191245295e-07</c:v>
                </c:pt>
                <c:pt idx="1">
                  <c:v>2.185756729440218e-06</c:v>
                </c:pt>
                <c:pt idx="2">
                  <c:v>3.3935563242649154e-06</c:v>
                </c:pt>
                <c:pt idx="3">
                  <c:v>0.00733505707366851</c:v>
                </c:pt>
                <c:pt idx="4">
                  <c:v>0.007984190768593007</c:v>
                </c:pt>
                <c:pt idx="5">
                  <c:v>0.0037744728815551137</c:v>
                </c:pt>
                <c:pt idx="6">
                  <c:v>0.0034438242223271344</c:v>
                </c:pt>
                <c:pt idx="7">
                  <c:v>0.00436629017630431</c:v>
                </c:pt>
                <c:pt idx="8">
                  <c:v>0.0019560900311123767</c:v>
                </c:pt>
                <c:pt idx="9">
                  <c:v>0.0015140984734152224</c:v>
                </c:pt>
                <c:pt idx="10">
                  <c:v>1.3520144718186915e-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3520144718186915e-08</c:v>
                </c:pt>
                <c:pt idx="1">
                  <c:v>0.0015140984734152224</c:v>
                </c:pt>
                <c:pt idx="2">
                  <c:v>0.00436629017630431</c:v>
                </c:pt>
                <c:pt idx="3">
                  <c:v>0.0019560900311123767</c:v>
                </c:pt>
                <c:pt idx="4">
                  <c:v>0.0034438242223271344</c:v>
                </c:pt>
                <c:pt idx="5">
                  <c:v>0.0037744728815551137</c:v>
                </c:pt>
                <c:pt idx="6">
                  <c:v>0.007984190768593007</c:v>
                </c:pt>
                <c:pt idx="7">
                  <c:v>0.00733505707366851</c:v>
                </c:pt>
                <c:pt idx="8">
                  <c:v>3.3935563242649154e-06</c:v>
                </c:pt>
                <c:pt idx="9">
                  <c:v>2.185756729440218e-06</c:v>
                </c:pt>
                <c:pt idx="10">
                  <c:v>7.61634819124529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61208663830276</c:v>
                </c:pt>
                <c:pt idx="3">
                  <c:v>0.0007196646615104993</c:v>
                </c:pt>
                <c:pt idx="4">
                  <c:v>0.0010448012569199275</c:v>
                </c:pt>
                <c:pt idx="5">
                  <c:v>0.002787209727973201</c:v>
                </c:pt>
                <c:pt idx="6">
                  <c:v>0.0003099362223083553</c:v>
                </c:pt>
                <c:pt idx="7">
                  <c:v>0.006778815408765452</c:v>
                </c:pt>
                <c:pt idx="8">
                  <c:v>0.00725874298256870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181560058492834e-07</c:v>
                </c:pt>
                <c:pt idx="1">
                  <c:v>2.4336260492736444e-07</c:v>
                </c:pt>
                <c:pt idx="2">
                  <c:v>0.003026574529464262</c:v>
                </c:pt>
                <c:pt idx="3">
                  <c:v>0.0034725365029936576</c:v>
                </c:pt>
                <c:pt idx="4">
                  <c:v>0.0018439494441048283</c:v>
                </c:pt>
                <c:pt idx="5">
                  <c:v>0.0022671840543629514</c:v>
                </c:pt>
                <c:pt idx="6">
                  <c:v>0.0025051656416924775</c:v>
                </c:pt>
                <c:pt idx="7">
                  <c:v>0.006024157361937826</c:v>
                </c:pt>
                <c:pt idx="8">
                  <c:v>0.007141709990768625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6024157361937826</c:v>
                </c:pt>
                <c:pt idx="3">
                  <c:v>0.0071417099907686256</c:v>
                </c:pt>
                <c:pt idx="4">
                  <c:v>0.0025051656416924775</c:v>
                </c:pt>
                <c:pt idx="5">
                  <c:v>0.0022671840543629514</c:v>
                </c:pt>
                <c:pt idx="6">
                  <c:v>0.0018439494441048283</c:v>
                </c:pt>
                <c:pt idx="7">
                  <c:v>0.0034725365029936576</c:v>
                </c:pt>
                <c:pt idx="8">
                  <c:v>0.003026574529464262</c:v>
                </c:pt>
                <c:pt idx="9">
                  <c:v>2.4336260492736444e-07</c:v>
                </c:pt>
                <c:pt idx="10">
                  <c:v>2.1181560058492834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582989958646008</c:v>
                </c:pt>
                <c:pt idx="1">
                  <c:v>0.0019929855107430334</c:v>
                </c:pt>
                <c:pt idx="2">
                  <c:v>0.0030582896948437768</c:v>
                </c:pt>
                <c:pt idx="3">
                  <c:v>0.007207132777929085</c:v>
                </c:pt>
                <c:pt idx="4">
                  <c:v>0.014674730551045772</c:v>
                </c:pt>
                <c:pt idx="5">
                  <c:v>0.010793761029072564</c:v>
                </c:pt>
                <c:pt idx="6">
                  <c:v>0.006098648371388458</c:v>
                </c:pt>
                <c:pt idx="7">
                  <c:v>0.02470817596077515</c:v>
                </c:pt>
                <c:pt idx="8">
                  <c:v>0.014742864129153944</c:v>
                </c:pt>
                <c:pt idx="9">
                  <c:v>0.003807826026325254</c:v>
                </c:pt>
                <c:pt idx="10">
                  <c:v>0.0003457759907605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928348237372026e-05</c:v>
                </c:pt>
                <c:pt idx="5">
                  <c:v>0.005208312875221814</c:v>
                </c:pt>
                <c:pt idx="6">
                  <c:v>4.940344382511944e-06</c:v>
                </c:pt>
                <c:pt idx="7">
                  <c:v>0.003893851609747138</c:v>
                </c:pt>
                <c:pt idx="8">
                  <c:v>0.007047526753422941</c:v>
                </c:pt>
                <c:pt idx="9">
                  <c:v>0.0006920611009803238</c:v>
                </c:pt>
                <c:pt idx="10">
                  <c:v>4.27621332798474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6930529828344946e-05</c:v>
                </c:pt>
                <c:pt idx="5">
                  <c:v>0.005204299399979363</c:v>
                </c:pt>
                <c:pt idx="6">
                  <c:v>0.000488491648800815</c:v>
                </c:pt>
                <c:pt idx="7">
                  <c:v>0.0022808915986653336</c:v>
                </c:pt>
                <c:pt idx="8">
                  <c:v>0.006741166566456787</c:v>
                </c:pt>
                <c:pt idx="9">
                  <c:v>0.0006689286786954254</c:v>
                </c:pt>
                <c:pt idx="10">
                  <c:v>2.865829430213726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8868916459005853</c:v>
                </c:pt>
                <c:pt idx="2">
                  <c:v>0.006067271340511832</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865829430213726e-07</c:v>
                </c:pt>
                <c:pt idx="1">
                  <c:v>0.0006689286786954254</c:v>
                </c:pt>
                <c:pt idx="2">
                  <c:v>0.0022808915986653336</c:v>
                </c:pt>
                <c:pt idx="3">
                  <c:v>0.006741166566456787</c:v>
                </c:pt>
                <c:pt idx="4">
                  <c:v>0.000488491648800815</c:v>
                </c:pt>
                <c:pt idx="5">
                  <c:v>0.005204299399979363</c:v>
                </c:pt>
                <c:pt idx="6">
                  <c:v>2.6930529828344946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2.5516269030972075e-07</c:v>
                </c:pt>
                <c:pt idx="3">
                  <c:v>0.07015941668175954</c:v>
                </c:pt>
                <c:pt idx="4">
                  <c:v>0.0390813591997439</c:v>
                </c:pt>
                <c:pt idx="5">
                  <c:v>0.04124769773083601</c:v>
                </c:pt>
                <c:pt idx="6">
                  <c:v>0.022447565871506092</c:v>
                </c:pt>
                <c:pt idx="7">
                  <c:v>0.07007288007793164</c:v>
                </c:pt>
                <c:pt idx="8">
                  <c:v>0.017753607601293627</c:v>
                </c:pt>
                <c:pt idx="9">
                  <c:v>0.0001309494926669487</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905626999909258e-08</c:v>
                </c:pt>
                <c:pt idx="1">
                  <c:v/>
                </c:pt>
                <c:pt idx="2">
                  <c:v>2.2757574807570156e-08</c:v>
                </c:pt>
                <c:pt idx="3">
                  <c:v>0.006257412365626721</c:v>
                </c:pt>
                <c:pt idx="4">
                  <c:v>0.0034856073765726758</c:v>
                </c:pt>
                <c:pt idx="5">
                  <c:v>0.0036788198369053695</c:v>
                </c:pt>
                <c:pt idx="6">
                  <c:v>0.0020020644826584076</c:v>
                </c:pt>
                <c:pt idx="7">
                  <c:v>0.006249694296684839</c:v>
                </c:pt>
                <c:pt idx="8">
                  <c:v>0.0015834174369311932</c:v>
                </c:pt>
                <c:pt idx="9">
                  <c:v>1.1709747563129456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05178856896970553</c:v>
                </c:pt>
                <c:pt idx="3">
                  <c:v>0.004221000255210378</c:v>
                </c:pt>
                <c:pt idx="4">
                  <c:v>0.0048367016634500255</c:v>
                </c:pt>
                <c:pt idx="5">
                  <c:v>6.37784828483622e-05</c:v>
                </c:pt>
                <c:pt idx="6">
                  <c:v>0.000533289522884454</c:v>
                </c:pt>
                <c:pt idx="7">
                  <c:v>0.005220675961809902</c:v>
                </c:pt>
                <c:pt idx="8">
                  <c:v>0.00019953061847340932</c:v>
                </c:pt>
                <c:pt idx="9">
                  <c:v/>
                </c:pt>
                <c:pt idx="10">
                  <c:v>1.2951344540388953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6067271340511832</c:v>
                </c:pt>
                <c:pt idx="2">
                  <c:v>0.008868916459005853</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2951344540388953e-07</c:v>
                </c:pt>
                <c:pt idx="1">
                  <c:v/>
                </c:pt>
                <c:pt idx="2">
                  <c:v>0.005220675961809902</c:v>
                </c:pt>
                <c:pt idx="3">
                  <c:v>0.00019953061847340932</c:v>
                </c:pt>
                <c:pt idx="4">
                  <c:v>0.000533289522884454</c:v>
                </c:pt>
                <c:pt idx="5">
                  <c:v>6.37784828483622e-05</c:v>
                </c:pt>
                <c:pt idx="6">
                  <c:v>0.0048367016634500255</c:v>
                </c:pt>
                <c:pt idx="7">
                  <c:v>0.004221000255210378</c:v>
                </c:pt>
                <c:pt idx="8">
                  <c:v>0.0005178856896970553</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056244764193211</c:v>
                </c:pt>
                <c:pt idx="3">
                  <c:v>0.0006089198776111931</c:v>
                </c:pt>
                <c:pt idx="4">
                  <c:v>0.0008840231951314473</c:v>
                </c:pt>
                <c:pt idx="5">
                  <c:v>0.0023583031058826112</c:v>
                </c:pt>
                <c:pt idx="6">
                  <c:v>0.00026224203667186166</c:v>
                </c:pt>
                <c:pt idx="7">
                  <c:v>0.0057356650532077134</c:v>
                </c:pt>
                <c:pt idx="8">
                  <c:v>0.006141739514178381</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9131908028297804e-06</c:v>
                </c:pt>
                <c:pt idx="1">
                  <c:v>2.0055227548059046e-05</c:v>
                </c:pt>
                <c:pt idx="2">
                  <c:v>3.1137291430285486e-05</c:v>
                </c:pt>
                <c:pt idx="3">
                  <c:v>0.06730220097645388</c:v>
                </c:pt>
                <c:pt idx="4">
                  <c:v>0.07325827275035034</c:v>
                </c:pt>
                <c:pt idx="5">
                  <c:v>0.0346323593536196</c:v>
                </c:pt>
                <c:pt idx="6">
                  <c:v>0.031598520312906206</c:v>
                </c:pt>
                <c:pt idx="7">
                  <c:v>0.040062529304925924</c:v>
                </c:pt>
                <c:pt idx="8">
                  <c:v>0.01794794002006598</c:v>
                </c:pt>
                <c:pt idx="9">
                  <c:v>0.013892483552955994</c:v>
                </c:pt>
                <c:pt idx="10">
                  <c:v>1.2405295390551985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4466927412136597e-06</c:v>
                </c:pt>
                <c:pt idx="1">
                  <c:v>0.0020929565669634046</c:v>
                </c:pt>
                <c:pt idx="2">
                  <c:v>0.00043064322838881814</c:v>
                </c:pt>
                <c:pt idx="3">
                  <c:v/>
                </c:pt>
                <c:pt idx="4">
                  <c:v>4.0165701706533915e-05</c:v>
                </c:pt>
                <c:pt idx="5">
                  <c:v>0.002810932262993805</c:v>
                </c:pt>
                <c:pt idx="6">
                  <c:v>0.0004133876284926659</c:v>
                </c:pt>
                <c:pt idx="7">
                  <c:v>0.0035380786132008894</c:v>
                </c:pt>
                <c:pt idx="8">
                  <c:v>0.0037533051590151615</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6067271340511832</c:v>
                </c:pt>
                <c:pt idx="2">
                  <c:v>0.008868916459005853</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5380786132008894</c:v>
                </c:pt>
                <c:pt idx="3">
                  <c:v>0.0037533051590151615</c:v>
                </c:pt>
                <c:pt idx="4">
                  <c:v>0.0004133876284926659</c:v>
                </c:pt>
                <c:pt idx="5">
                  <c:v>0.002810932262993805</c:v>
                </c:pt>
                <c:pt idx="6">
                  <c:v>4.0165701706533915e-05</c:v>
                </c:pt>
                <c:pt idx="7">
                  <c:v/>
                </c:pt>
                <c:pt idx="8">
                  <c:v>0.00043064322838881814</c:v>
                </c:pt>
                <c:pt idx="9">
                  <c:v>0.0020929565669634046</c:v>
                </c:pt>
                <c:pt idx="10">
                  <c:v>1.4466927412136597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928348237372026e-05</c:v>
                </c:pt>
                <c:pt idx="5">
                  <c:v>0.005208312875221814</c:v>
                </c:pt>
                <c:pt idx="6">
                  <c:v>4.940344382511944e-06</c:v>
                </c:pt>
                <c:pt idx="7">
                  <c:v>0.003893851609747138</c:v>
                </c:pt>
                <c:pt idx="8">
                  <c:v>0.007047526753422941</c:v>
                </c:pt>
                <c:pt idx="9">
                  <c:v>0.0006920611009803238</c:v>
                </c:pt>
                <c:pt idx="10">
                  <c:v>4.27621332798474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8.623302236972275e-05</c:v>
                </c:pt>
                <c:pt idx="5">
                  <c:v>0.003664298652854376</c:v>
                </c:pt>
                <c:pt idx="6">
                  <c:v>0.003089423275313602</c:v>
                </c:pt>
                <c:pt idx="7">
                  <c:v>0.006460184788650986</c:v>
                </c:pt>
                <c:pt idx="8">
                  <c:v>0.008665698137942348</c:v>
                </c:pt>
                <c:pt idx="9">
                  <c:v>0.001088078530865876</c:v>
                </c:pt>
                <c:pt idx="10">
                  <c:v>9.276569711450426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276569711450426e-05</c:v>
                </c:pt>
                <c:pt idx="1">
                  <c:v>0.001088078530865876</c:v>
                </c:pt>
                <c:pt idx="2">
                  <c:v>0.006460184788650986</c:v>
                </c:pt>
                <c:pt idx="3">
                  <c:v>0.008665698137942348</c:v>
                </c:pt>
                <c:pt idx="4">
                  <c:v>0.003089423275313602</c:v>
                </c:pt>
                <c:pt idx="5">
                  <c:v>0.003664298652854376</c:v>
                </c:pt>
                <c:pt idx="6">
                  <c:v>8.623302236972275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2405295390551985e-07</c:v>
                </c:pt>
                <c:pt idx="1">
                  <c:v>0.013892483552955994</c:v>
                </c:pt>
                <c:pt idx="2">
                  <c:v>0.040062529304925924</c:v>
                </c:pt>
                <c:pt idx="3">
                  <c:v>0.01794794002006598</c:v>
                </c:pt>
                <c:pt idx="4">
                  <c:v>0.031598520312906206</c:v>
                </c:pt>
                <c:pt idx="5">
                  <c:v>0.0346323593536196</c:v>
                </c:pt>
                <c:pt idx="6">
                  <c:v>0.07325827275035034</c:v>
                </c:pt>
                <c:pt idx="7">
                  <c:v>0.06730220097645388</c:v>
                </c:pt>
                <c:pt idx="8">
                  <c:v>3.1137291430285486e-05</c:v>
                </c:pt>
                <c:pt idx="9">
                  <c:v>2.0055227548059046e-05</c:v>
                </c:pt>
                <c:pt idx="10">
                  <c:v>5.9131908028297804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6905626999909258e-08</c:v>
                </c:pt>
                <c:pt idx="1">
                  <c:v/>
                </c:pt>
                <c:pt idx="2">
                  <c:v>2.2757574807570156e-08</c:v>
                </c:pt>
                <c:pt idx="3">
                  <c:v>0.006257412365626721</c:v>
                </c:pt>
                <c:pt idx="4">
                  <c:v>0.0034856073765726758</c:v>
                </c:pt>
                <c:pt idx="5">
                  <c:v>0.0036788198369053695</c:v>
                </c:pt>
                <c:pt idx="6">
                  <c:v>0.0020020644826584076</c:v>
                </c:pt>
                <c:pt idx="7">
                  <c:v>0.006249694296684839</c:v>
                </c:pt>
                <c:pt idx="8">
                  <c:v>0.0015834174369311932</c:v>
                </c:pt>
                <c:pt idx="9">
                  <c:v>1.1709747563129456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248995613053693e-07</c:v>
                </c:pt>
                <c:pt idx="1">
                  <c:v>2.080333060550912e-06</c:v>
                </c:pt>
                <c:pt idx="2">
                  <c:v>3.229877926999663e-06</c:v>
                </c:pt>
                <c:pt idx="3">
                  <c:v>0.006981271760873598</c:v>
                </c:pt>
                <c:pt idx="4">
                  <c:v>0.007599096365085087</c:v>
                </c:pt>
                <c:pt idx="5">
                  <c:v>0.003592422073275713</c:v>
                </c:pt>
                <c:pt idx="6">
                  <c:v>0.0032777212980458176</c:v>
                </c:pt>
                <c:pt idx="7">
                  <c:v>0.004155694768489085</c:v>
                </c:pt>
                <c:pt idx="8">
                  <c:v>0.0018617436727184685</c:v>
                </c:pt>
                <c:pt idx="9">
                  <c:v>0.0014410703024494579</c:v>
                </c:pt>
                <c:pt idx="10">
                  <c:v>1.2868039549799455e-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2868039549799455e-08</c:v>
                </c:pt>
                <c:pt idx="1">
                  <c:v>0.0014410703024494579</c:v>
                </c:pt>
                <c:pt idx="2">
                  <c:v>0.004155694768489085</c:v>
                </c:pt>
                <c:pt idx="3">
                  <c:v>0.0018617436727184685</c:v>
                </c:pt>
                <c:pt idx="4">
                  <c:v>0.0032777212980458176</c:v>
                </c:pt>
                <c:pt idx="5">
                  <c:v>0.003592422073275713</c:v>
                </c:pt>
                <c:pt idx="6">
                  <c:v>0.007599096365085087</c:v>
                </c:pt>
                <c:pt idx="7">
                  <c:v>0.006981271760873598</c:v>
                </c:pt>
                <c:pt idx="8">
                  <c:v>3.229877926999663e-06</c:v>
                </c:pt>
                <c:pt idx="9">
                  <c:v>2.080333060550912e-06</c:v>
                </c:pt>
                <c:pt idx="10">
                  <c:v>7.248995613053693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30734663963747338</c:v>
                </c:pt>
                <c:pt idx="2">
                  <c:v>0.0055593660224720065</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056244764193211</c:v>
                </c:pt>
                <c:pt idx="3">
                  <c:v>0.0006089198776111931</c:v>
                </c:pt>
                <c:pt idx="4">
                  <c:v>0.0008840231951314473</c:v>
                </c:pt>
                <c:pt idx="5">
                  <c:v>0.0023583031058826112</c:v>
                </c:pt>
                <c:pt idx="6">
                  <c:v>0.00026224203667186166</c:v>
                </c:pt>
                <c:pt idx="7">
                  <c:v>0.0057356650532077134</c:v>
                </c:pt>
                <c:pt idx="8">
                  <c:v>0.006141739514178381</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159928628019147e-07</c:v>
                </c:pt>
                <c:pt idx="1">
                  <c:v>2.316247118963902e-07</c:v>
                </c:pt>
                <c:pt idx="2">
                  <c:v>0.0028805964401529397</c:v>
                </c:pt>
                <c:pt idx="3">
                  <c:v>0.003305048724703075</c:v>
                </c:pt>
                <c:pt idx="4">
                  <c:v>0.0017550118633459153</c:v>
                </c:pt>
                <c:pt idx="5">
                  <c:v>0.0021578329734128375</c:v>
                </c:pt>
                <c:pt idx="6">
                  <c:v>0.0023843362055684073</c:v>
                </c:pt>
                <c:pt idx="7">
                  <c:v>0.0057335995141645935</c:v>
                </c:pt>
                <c:pt idx="8">
                  <c:v>0.00679725021661843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57335995141645935</c:v>
                </c:pt>
                <c:pt idx="3">
                  <c:v>0.006797250216618433</c:v>
                </c:pt>
                <c:pt idx="4">
                  <c:v>0.0023843362055684073</c:v>
                </c:pt>
                <c:pt idx="5">
                  <c:v>0.0021578329734128375</c:v>
                </c:pt>
                <c:pt idx="6">
                  <c:v>0.0017550118633459153</c:v>
                </c:pt>
                <c:pt idx="7">
                  <c:v>0.003305048724703075</c:v>
                </c:pt>
                <c:pt idx="8">
                  <c:v>0.0028805964401529397</c:v>
                </c:pt>
                <c:pt idx="9">
                  <c:v>2.316247118963902e-07</c:v>
                </c:pt>
                <c:pt idx="10">
                  <c:v>2.0159928628019147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582989958646008</c:v>
                </c:pt>
                <c:pt idx="1">
                  <c:v>0.0019929855107430334</c:v>
                </c:pt>
                <c:pt idx="2">
                  <c:v>0.0030582896948437768</c:v>
                </c:pt>
                <c:pt idx="3">
                  <c:v>0.007207132777929085</c:v>
                </c:pt>
                <c:pt idx="4">
                  <c:v>0.014674730551045772</c:v>
                </c:pt>
                <c:pt idx="5">
                  <c:v>0.010793761029072564</c:v>
                </c:pt>
                <c:pt idx="6">
                  <c:v>0.006098648371388458</c:v>
                </c:pt>
                <c:pt idx="7">
                  <c:v>0.02470817596077515</c:v>
                </c:pt>
                <c:pt idx="8">
                  <c:v>0.014742864129153944</c:v>
                </c:pt>
                <c:pt idx="9">
                  <c:v>0.003807826026325254</c:v>
                </c:pt>
                <c:pt idx="10">
                  <c:v>0.0003457759907605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4267255754208456</c:v>
                </c:pt>
                <c:pt idx="3">
                  <c:v>0.006827337072079137</c:v>
                </c:pt>
                <c:pt idx="4">
                  <c:v>0.009911853027981745</c:v>
                </c:pt>
                <c:pt idx="5">
                  <c:v>0.026441787850900917</c:v>
                </c:pt>
                <c:pt idx="6">
                  <c:v>1.4726532412161027e-06</c:v>
                </c:pt>
                <c:pt idx="7">
                  <c:v>0.0641718200234897</c:v>
                </c:pt>
                <c:pt idx="8">
                  <c:v>0.0627645686249812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46602519943107225</c:v>
                </c:pt>
                <c:pt idx="2">
                  <c:v>0.0006812186779826881</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9624955572558335</c:v>
                </c:pt>
                <c:pt idx="3">
                  <c:v>0.07844769750622496</c:v>
                </c:pt>
                <c:pt idx="4">
                  <c:v>0.08989056765723218</c:v>
                </c:pt>
                <c:pt idx="5">
                  <c:v>0.0011853292649575801</c:v>
                </c:pt>
                <c:pt idx="6">
                  <c:v>0.009911237300409399</c:v>
                </c:pt>
                <c:pt idx="7">
                  <c:v>0.09702676708548813</c:v>
                </c:pt>
                <c:pt idx="8">
                  <c:v>0.003708295819672215</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434962778531443e-06</c:v>
                </c:pt>
                <c:pt idx="1">
                  <c:v>2.2329531702993578e-06</c:v>
                </c:pt>
                <c:pt idx="2">
                  <c:v>0.027770080751443327</c:v>
                </c:pt>
                <c:pt idx="3">
                  <c:v>0.0318619674360169</c:v>
                </c:pt>
                <c:pt idx="4">
                  <c:v>0.01691900346938896</c:v>
                </c:pt>
                <c:pt idx="5">
                  <c:v>0.020802357138447355</c:v>
                </c:pt>
                <c:pt idx="6">
                  <c:v>0.017400080824634567</c:v>
                </c:pt>
                <c:pt idx="7">
                  <c:v>0.0519806273945063</c:v>
                </c:pt>
                <c:pt idx="8">
                  <c:v>0.0617183294152586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519806273945063</c:v>
                </c:pt>
                <c:pt idx="3">
                  <c:v>0.06171832941525862</c:v>
                </c:pt>
                <c:pt idx="4">
                  <c:v>0.017400080824634567</c:v>
                </c:pt>
                <c:pt idx="5">
                  <c:v>0.020802357138447355</c:v>
                </c:pt>
                <c:pt idx="6">
                  <c:v>0.01691900346938896</c:v>
                </c:pt>
                <c:pt idx="7">
                  <c:v>0.0318619674360169</c:v>
                </c:pt>
                <c:pt idx="8">
                  <c:v>0.027770080751443327</c:v>
                </c:pt>
                <c:pt idx="9">
                  <c:v>2.2329531702993578e-06</c:v>
                </c:pt>
                <c:pt idx="10">
                  <c:v>1.9434962778531443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6582276746004785</c:v>
                </c:pt>
                <c:pt idx="4">
                  <c:v>0.002708529177842654</c:v>
                </c:pt>
                <c:pt idx="5">
                  <c:v>0.018979275109016668</c:v>
                </c:pt>
                <c:pt idx="6">
                  <c:v>0.009500095635457046</c:v>
                </c:pt>
                <c:pt idx="7">
                  <c:v>0.048597555837115884</c:v>
                </c:pt>
                <c:pt idx="8">
                  <c:v>0.02157914141866813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6067271340511832</c:v>
                </c:pt>
                <c:pt idx="2">
                  <c:v>0.008868916459005853</c:v>
                </c:pt>
                <c:pt idx="3">
                  <c:v>0.026540558614162744</c:v>
                </c:pt>
                <c:pt idx="4">
                  <c:v>0.10919847111894318</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0.021349189784337294</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838750015035271</c:v>
                </c:pt>
                <c:pt idx="4">
                  <c:v>0.0020385719423146563</c:v>
                </c:pt>
                <c:pt idx="5">
                  <c:v>0.01671541860460919</c:v>
                </c:pt>
                <c:pt idx="6">
                  <c:v>0.005259728399007006</c:v>
                </c:pt>
                <c:pt idx="7">
                  <c:v>0.012162232895569162</c:v>
                </c:pt>
                <c:pt idx="8">
                  <c:v>0.02006365806290019</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0.02135647756597255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0.07644842968244937</c:v>
                </c:pt>
                <c:pt idx="1">
                  <c:v>0.008868916459005853</c:v>
                </c:pt>
                <c:pt idx="2">
                  <c:v>0.006067271340511832</c:v>
                </c:pt>
                <c:pt idx="3">
                  <c:v>0.10919847111894318</c:v>
                </c:pt>
                <c:pt idx="4">
                  <c:v>0.026540558614162744</c:v>
                </c:pt>
                <c:pt idx="5">
                  <c:v>0.217621236723281</c:v>
                </c:pt>
                <c:pt idx="6">
                  <c:v>0.06847741155012668</c:v>
                </c:pt>
                <c:pt idx="7">
                  <c:v>0.1583424397951064</c:v>
                </c:pt>
                <c:pt idx="8">
                  <c:v>0.26121260760034987</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2.49 €</c:v>
                </c:pt>
                <c:pt idx="8">
                  <c:v>2.5-2.99 €</c:v>
                </c:pt>
                <c:pt idx="9">
                  <c:v>1.5-1.99 €</c:v>
                </c:pt>
                <c:pt idx="10">
                  <c:v>0-1.49 €</c:v>
                </c:pt>
              </c:strCache>
            </c:strRef>
          </c:cat>
          <c:val>
            <c:numRef>
              <c:f>Sheet1!$B$2:$B$12</c:f>
              <c:numCache>
                <c:formatCode>General</c:formatCode>
                <c:ptCount val="11"/>
                <c:pt idx="0">
                  <c:v/>
                </c:pt>
                <c:pt idx="1">
                  <c:v/>
                </c:pt>
                <c:pt idx="2">
                  <c:v>0.021356477565972556</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9702676708548813</c:v>
                </c:pt>
                <c:pt idx="3">
                  <c:v>0.003708295819672215</c:v>
                </c:pt>
                <c:pt idx="4">
                  <c:v>0.009911237300409399</c:v>
                </c:pt>
                <c:pt idx="5">
                  <c:v>0.0011853292649575801</c:v>
                </c:pt>
                <c:pt idx="6">
                  <c:v>0.08989056765723218</c:v>
                </c:pt>
                <c:pt idx="7">
                  <c:v>0.07844769750622496</c:v>
                </c:pt>
                <c:pt idx="8">
                  <c:v>0.009624955572558335</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6582276746004785</c:v>
                </c:pt>
                <c:pt idx="4">
                  <c:v>0.002708529177842654</c:v>
                </c:pt>
                <c:pt idx="5">
                  <c:v>0.018979275109016668</c:v>
                </c:pt>
                <c:pt idx="6">
                  <c:v>0.009500095635457046</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5.780621953104889e-06</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838750015035271</c:v>
                </c:pt>
                <c:pt idx="4">
                  <c:v>0.0020385719423146563</c:v>
                </c:pt>
                <c:pt idx="5">
                  <c:v>0.01671541860460919</c:v>
                </c:pt>
                <c:pt idx="6">
                  <c:v>0.005259728399007006</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5.7826951739594654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0.07644842968244937</c:v>
                </c:pt>
                <c:pt idx="1">
                  <c:v>0.008868916459005853</c:v>
                </c:pt>
                <c:pt idx="2">
                  <c:v>0.006067271340511832</c:v>
                </c:pt>
                <c:pt idx="3">
                  <c:v>0.10919847111894318</c:v>
                </c:pt>
                <c:pt idx="4">
                  <c:v>0.026540558614162744</c:v>
                </c:pt>
                <c:pt idx="5">
                  <c:v>0.217621236723281</c:v>
                </c:pt>
                <c:pt idx="6">
                  <c:v>0.06847741155012668</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3.49 €</c:v>
                </c:pt>
                <c:pt idx="6">
                  <c:v>3.5-3.99 €</c:v>
                </c:pt>
                <c:pt idx="7">
                  <c:v>2.5-2.99 €</c:v>
                </c:pt>
                <c:pt idx="8">
                  <c:v>2-2.49 €</c:v>
                </c:pt>
                <c:pt idx="9">
                  <c:v>1.5-1.99 €</c:v>
                </c:pt>
                <c:pt idx="10">
                  <c:v>0-1.49 €</c:v>
                </c:pt>
              </c:strCache>
            </c:strRef>
          </c:cat>
          <c:val>
            <c:numRef>
              <c:f>Sheet1!$B$2:$B$12</c:f>
              <c:numCache>
                <c:formatCode>General</c:formatCode>
                <c:ptCount val="11"/>
                <c:pt idx="0">
                  <c:v>5.7826951739594654e-06</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6582276746004785</c:v>
                </c:pt>
                <c:pt idx="4">
                  <c:v>0.002708529177842654</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08809876440111869</c:v>
                </c:pt>
                <c:pt idx="6">
                  <c:v>0.0001389019956293585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838750015035271</c:v>
                </c:pt>
                <c:pt idx="4">
                  <c:v>0.0020385719423146563</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11240208748273982</c:v>
                </c:pt>
                <c:pt idx="6">
                  <c:v>0.005192753562862204</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7644842968244937</c:v>
                </c:pt>
                <c:pt idx="1">
                  <c:v>0.008868916459005853</c:v>
                </c:pt>
                <c:pt idx="2">
                  <c:v>0.006067271340511832</c:v>
                </c:pt>
                <c:pt idx="3">
                  <c:v>0.10919847111894318</c:v>
                </c:pt>
                <c:pt idx="4">
                  <c:v>0.026540558614162744</c:v>
                </c:pt>
                <c:pt idx="5">
                  <c:v>0.06847741155012668</c:v>
                </c:pt>
                <c:pt idx="6">
                  <c:v>0.217621236723281</c:v>
                </c:pt>
                <c:pt idx="7">
                  <c:v>0.26121260760034987</c:v>
                </c:pt>
                <c:pt idx="8">
                  <c:v>0.1583424397951064</c:v>
                </c:pt>
                <c:pt idx="9">
                  <c:v>0.05244428675058244</c:v>
                </c:pt>
                <c:pt idx="10">
                  <c:v>0.01477837036548063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5192753562862204</c:v>
                </c:pt>
                <c:pt idx="5">
                  <c:v>0.11240208748273982</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08809876440111869</c:v>
                </c:pt>
                <c:pt idx="6">
                  <c:v>0.0001389019956293585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19428990141866858</c:v>
                </c:pt>
                <c:pt idx="5">
                  <c:v>0.07689897051294806</c:v>
                </c:pt>
                <c:pt idx="6">
                  <c:v>0.02118923587943137</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2118923587943137</c:v>
                </c:pt>
                <c:pt idx="5">
                  <c:v>0.07689897051294806</c:v>
                </c:pt>
                <c:pt idx="6">
                  <c:v>0.0019428990141866858</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4732825860438789</c:v>
                </c:pt>
                <c:pt idx="1">
                  <c:v>0.0055593660224720065</c:v>
                </c:pt>
                <c:pt idx="2">
                  <c:v>0.0030734663963747338</c:v>
                </c:pt>
                <c:pt idx="3">
                  <c:v>0.002708529177842654</c:v>
                </c:pt>
                <c:pt idx="4">
                  <c:v>0.006582276746004785</c:v>
                </c:pt>
                <c:pt idx="5">
                  <c:v>0.009500095635457046</c:v>
                </c:pt>
                <c:pt idx="6">
                  <c:v>0.018979275109016668</c:v>
                </c:pt>
                <c:pt idx="7">
                  <c:v>0.021579141418668134</c:v>
                </c:pt>
                <c:pt idx="8">
                  <c:v>0.048597555837115884</c:v>
                </c:pt>
                <c:pt idx="9">
                  <c:v>0.009363336915624857</c:v>
                </c:pt>
                <c:pt idx="10">
                  <c:v>0.0003851095328415098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5216905811994124</c:v>
                </c:pt>
                <c:pt idx="5">
                  <c:v>0.01825891858014151</c:v>
                </c:pt>
                <c:pt idx="6">
                  <c:v/>
                </c:pt>
                <c:pt idx="7">
                  <c:v>0.030103958299176215</c:v>
                </c:pt>
                <c:pt idx="8">
                  <c:v>0.03790488467516881</c:v>
                </c:pt>
                <c:pt idx="9">
                  <c:v>0.0060900902500959754</c:v>
                </c:pt>
                <c:pt idx="10">
                  <c:v>0.000376303841657916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49 €</c:v>
                </c:pt>
                <c:pt idx="2">
                  <c:v>5.5-5.9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5871979789509513</c:v>
                </c:pt>
                <c:pt idx="1">
                  <c:v>0.0006812186779826881</c:v>
                </c:pt>
                <c:pt idx="2">
                  <c:v>0.00046602519943107225</c:v>
                </c:pt>
                <c:pt idx="3">
                  <c:v>0.0020385719423146563</c:v>
                </c:pt>
                <c:pt idx="4">
                  <c:v>0.00838750015035271</c:v>
                </c:pt>
                <c:pt idx="5">
                  <c:v>0.005259728399007006</c:v>
                </c:pt>
                <c:pt idx="6">
                  <c:v>0.01671541860460919</c:v>
                </c:pt>
                <c:pt idx="7">
                  <c:v>0.02006365806290019</c:v>
                </c:pt>
                <c:pt idx="8">
                  <c:v>0.012162232895569162</c:v>
                </c:pt>
                <c:pt idx="9">
                  <c:v>0.004028229136344963</c:v>
                </c:pt>
                <c:pt idx="10">
                  <c:v>0.001135121970045000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88939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85611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40340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32686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14912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62676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936698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29074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36649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609114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92017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955622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98053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218287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15823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73882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757601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34550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961014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84184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1820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86590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04006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46454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13385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77052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0/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35254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105</Words>
  <Application>Microsoft Office PowerPoint</Application>
  <PresentationFormat>On-screen Show (16:9)</PresentationFormat>
  <Paragraphs>1161</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